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1947" r:id="rId2"/>
    <p:sldId id="1949" r:id="rId3"/>
    <p:sldId id="1952" r:id="rId4"/>
    <p:sldId id="1950" r:id="rId5"/>
    <p:sldId id="1951" r:id="rId6"/>
  </p:sldIdLst>
  <p:sldSz cx="9144000" cy="6858000" type="screen4x3"/>
  <p:notesSz cx="6858000" cy="9661525"/>
  <p:custShowLst>
    <p:custShow name="Mustermann1" id="0">
      <p:sldLst/>
    </p:custShow>
  </p:custShowLst>
  <p:custDataLst>
    <p:tags r:id="rId9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60" d="100"/>
          <a:sy n="60" d="100"/>
        </p:scale>
        <p:origin x="756" y="48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6"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9"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" name="think-cell Folie" r:id="rId13" imgW="7761960" imgH="10047960" progId="">
                  <p:embed/>
                </p:oleObj>
              </mc:Choice>
              <mc:Fallback>
                <p:oleObj name="think-cell Folie" r:id="rId13" imgW="7761960" imgH="100479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</p:spTree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 </a:t>
                </a:r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nchmark mit </a:t>
            </a:r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17914" y="3396960"/>
            <a:ext cx="239077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101</Words>
  <Application>Microsoft Office PowerPoint</Application>
  <PresentationFormat>Bildschirmpräsentation (4:3)</PresentationFormat>
  <Paragraphs>21</Paragraphs>
  <Slides>5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  <vt:variant>
        <vt:lpstr>Zielgruppenorientierte Präsentationen</vt:lpstr>
      </vt:variant>
      <vt:variant>
        <vt:i4>1</vt:i4>
      </vt:variant>
    </vt:vector>
  </HeadingPairs>
  <TitlesOfParts>
    <vt:vector size="13" baseType="lpstr">
      <vt:lpstr>Arial</vt:lpstr>
      <vt:lpstr>Cambria Math</vt:lpstr>
      <vt:lpstr>Syntax</vt:lpstr>
      <vt:lpstr>Times</vt:lpstr>
      <vt:lpstr>Wingdings</vt:lpstr>
      <vt:lpstr>Leere Präsentation</vt:lpstr>
      <vt:lpstr>think-cell Folie</vt:lpstr>
      <vt:lpstr>Web Mining</vt:lpstr>
      <vt:lpstr>Web Mining</vt:lpstr>
      <vt:lpstr>Web Mining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Luca Janas</cp:lastModifiedBy>
  <cp:revision>596</cp:revision>
  <cp:lastPrinted>2010-04-29T14:30:22Z</cp:lastPrinted>
  <dcterms:created xsi:type="dcterms:W3CDTF">2010-04-29T12:39:23Z</dcterms:created>
  <dcterms:modified xsi:type="dcterms:W3CDTF">2023-07-21T14:35:21Z</dcterms:modified>
</cp:coreProperties>
</file>